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c Seelig" userId="676484b300c8e850" providerId="LiveId" clId="{414F3512-63E8-45B9-8E97-2958872B3EF1}"/>
    <pc:docChg chg="modSld">
      <pc:chgData name="Eric Seelig" userId="676484b300c8e850" providerId="LiveId" clId="{414F3512-63E8-45B9-8E97-2958872B3EF1}" dt="2020-08-14T04:08:28.669" v="15" actId="1076"/>
      <pc:docMkLst>
        <pc:docMk/>
      </pc:docMkLst>
      <pc:sldChg chg="addSp modSp mod">
        <pc:chgData name="Eric Seelig" userId="676484b300c8e850" providerId="LiveId" clId="{414F3512-63E8-45B9-8E97-2958872B3EF1}" dt="2020-08-14T04:08:28.669" v="15" actId="1076"/>
        <pc:sldMkLst>
          <pc:docMk/>
          <pc:sldMk cId="3875604477" sldId="256"/>
        </pc:sldMkLst>
        <pc:grpChg chg="mod">
          <ac:chgData name="Eric Seelig" userId="676484b300c8e850" providerId="LiveId" clId="{414F3512-63E8-45B9-8E97-2958872B3EF1}" dt="2020-08-14T04:08:28.669" v="15" actId="1076"/>
          <ac:grpSpMkLst>
            <pc:docMk/>
            <pc:sldMk cId="3875604477" sldId="256"/>
            <ac:grpSpMk id="6" creationId="{F0144D67-77E7-4757-8768-E14E837A4059}"/>
          </ac:grpSpMkLst>
        </pc:grpChg>
        <pc:cxnChg chg="add mod">
          <ac:chgData name="Eric Seelig" userId="676484b300c8e850" providerId="LiveId" clId="{414F3512-63E8-45B9-8E97-2958872B3EF1}" dt="2020-08-14T02:50:55.570" v="4" actId="14100"/>
          <ac:cxnSpMkLst>
            <pc:docMk/>
            <pc:sldMk cId="3875604477" sldId="256"/>
            <ac:cxnSpMk id="38" creationId="{EF383419-045E-4463-943E-F87F20B5D6CA}"/>
          </ac:cxnSpMkLst>
        </pc:cxnChg>
        <pc:cxnChg chg="add mod">
          <ac:chgData name="Eric Seelig" userId="676484b300c8e850" providerId="LiveId" clId="{414F3512-63E8-45B9-8E97-2958872B3EF1}" dt="2020-08-14T02:51:20.235" v="9" actId="1035"/>
          <ac:cxnSpMkLst>
            <pc:docMk/>
            <pc:sldMk cId="3875604477" sldId="256"/>
            <ac:cxnSpMk id="39" creationId="{C551D069-A030-47F2-ACAF-A31FFECC8355}"/>
          </ac:cxnSpMkLst>
        </pc:cxnChg>
      </pc:sldChg>
      <pc:sldChg chg="modSp mod">
        <pc:chgData name="Eric Seelig" userId="676484b300c8e850" providerId="LiveId" clId="{414F3512-63E8-45B9-8E97-2958872B3EF1}" dt="2020-08-14T02:27:46.870" v="0" actId="1076"/>
        <pc:sldMkLst>
          <pc:docMk/>
          <pc:sldMk cId="1695977595" sldId="257"/>
        </pc:sldMkLst>
        <pc:grpChg chg="mod">
          <ac:chgData name="Eric Seelig" userId="676484b300c8e850" providerId="LiveId" clId="{414F3512-63E8-45B9-8E97-2958872B3EF1}" dt="2020-08-14T02:27:46.870" v="0" actId="1076"/>
          <ac:grpSpMkLst>
            <pc:docMk/>
            <pc:sldMk cId="1695977595" sldId="257"/>
            <ac:grpSpMk id="2048" creationId="{0C131FC1-B1FE-4FF5-8022-9E8EAA4BA3E5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EEC3A-E560-4527-AC13-E2EDAF790D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A38630-ABD1-4396-A4C9-C688FBCB7E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9E14C-DD78-44CF-9249-D7F5C9B63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D493A1-A20B-49C4-AB66-BF2529F5F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73D73E-F9F5-4DD7-AE14-B75020FF6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882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736574-EE56-438C-8FD4-1619637F0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56A9BC-9D2B-472E-86BB-2E49FD535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512091-CE93-4AD8-B589-93C04827B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D1BF70-13EA-4E99-800B-620B2A225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13382-D719-438F-908B-9E54E5411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971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D22489-58D4-4651-9715-1639019343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91280B-2370-4C01-AEDE-BB11FB364D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1395B1-745C-4B54-81C9-2DE7379DAE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CC36A7-E2BF-45B4-9FFC-4C5444EA8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ED9D16-FE63-442A-AFA5-C75F28E6D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880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21B9F-A969-4F9C-B15E-D2B5838EA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D269F0-412E-4DCF-98E7-CAEA95B33C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6229AE-A301-4489-B808-E37211996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5CC92-A099-47BA-9179-1D6470055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F2F77C-033D-48D9-8EB1-548A5D120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814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AAD8A1-D0EE-4E90-B7F5-DA12D2AB6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5FF269-EF96-465A-BD9C-43AD9EE67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9CE8FD-0479-4976-9D95-24C58A7A8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07217-9655-41EA-AE7D-09AAA5A1C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737C0B-5FED-4C4A-AA17-D6060A27B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878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65885A-81F1-483A-8905-CD10BA9DB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26C840-4B44-4AD1-8850-BE9D7232EF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104455-9210-48A2-AE0A-1A6BB71646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19524F-E59F-43B2-8992-C6B97EBDC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A17AEF-5D5A-466A-8DF2-A64D4DD34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AF6975-0639-4030-BCB2-039668887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103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70BA0-73E0-4BFD-98B3-DC451F064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97743A-A5E2-40E1-91F3-4C0BC3571A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DA57C9-4F56-40B2-9BAF-FECA1D9AE7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A72401-FE0A-4927-9C7C-A1D2E54FEF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C44EB6-D86A-4917-BDDE-510F5C4514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9A9807-E71B-496D-B157-C1C8FDAF3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9F0FA3-3199-4311-86FB-AAE5C7D7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C5574F-31C9-4056-95C8-D690D9481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84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C7DAA-100C-4520-9419-AB24916E4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C505AB-C0B8-4EBD-9AF1-DC8EED27AA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3DC562-BEB6-4816-B9E2-1B21D227B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D08BF4-2A59-44CB-951B-CEC5566A4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29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C0CED8-C1AE-43C3-8043-E32FFC6BD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4ED1A9-8BE3-4076-B771-0C62B12C9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BAE68A-F79F-449C-ACD5-D9E67ADB7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9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ECAC9-05B2-4A31-BF8E-E35330E85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2F39B7-78F6-4666-8F4A-BA444DCD54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947EC9-32AA-4B95-9091-F4841D463E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27F803-F143-4B13-A539-3A3A60805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691C1E-55C1-4021-A274-235B63CD4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9E9038-4500-443F-B91E-227B2EFA35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860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71102-BF17-407E-8983-C10493752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CD4AA7-07A7-4CB4-858F-8498CD04AF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C0BB3C-1E0B-4777-AE20-0C9E7E026E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D7B8A9-6712-4DB8-A1B6-C54B2ABC6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03D29C-3045-45AF-BDC1-8F3DD8CDE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1531D4-2C79-4296-8CE6-1917F39A0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081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EB83AB-32E1-4BEC-A065-C6B8028F28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7122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06" imgH="306" progId="TCLayout.ActiveDocument.1">
                  <p:embed/>
                </p:oleObj>
              </mc:Choice>
              <mc:Fallback>
                <p:oleObj name="think-cell Slide" r:id="rId16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BEB83AB-32E1-4BEC-A065-C6B8028F2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E0AE51D-B5CA-4C78-8C6E-4DC8F943B53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E4EE23-F88E-4074-8484-F31F00999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DEA9F1-EDBB-4D70-B38C-94366142AC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D38841-81CC-4BC5-AF42-DB457E69B4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9BA82E-6B39-4939-904F-2A2A60E7B393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C8593B-4F16-4FBF-86B4-2F05DFEFB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5E4D4A-A05E-4300-A515-6F6FABFAA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C8523B-8BF3-4F53-801E-710A93784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250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2EBD11-C97D-4BFD-AC4B-EB739FF2F8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76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2EBD11-C97D-4BFD-AC4B-EB739FF2F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No photo description available.">
            <a:extLst>
              <a:ext uri="{FF2B5EF4-FFF2-40B4-BE49-F238E27FC236}">
                <a16:creationId xmlns:a16="http://schemas.microsoft.com/office/drawing/2014/main" id="{25B442FA-4B0C-4C8D-86B6-172330954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287" y="33338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9BFC71F-400B-4A64-8C3C-A221F3159A7B}"/>
              </a:ext>
            </a:extLst>
          </p:cNvPr>
          <p:cNvCxnSpPr/>
          <p:nvPr/>
        </p:nvCxnSpPr>
        <p:spPr>
          <a:xfrm flipH="1">
            <a:off x="7196138" y="2412366"/>
            <a:ext cx="76200" cy="964249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E83FCBB-073D-4D4C-9A8E-4E46AD796E3E}"/>
              </a:ext>
            </a:extLst>
          </p:cNvPr>
          <p:cNvCxnSpPr/>
          <p:nvPr/>
        </p:nvCxnSpPr>
        <p:spPr>
          <a:xfrm flipH="1">
            <a:off x="5953125" y="2355216"/>
            <a:ext cx="76200" cy="964249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9B63E7E-5DFF-429C-A089-D90815222530}"/>
              </a:ext>
            </a:extLst>
          </p:cNvPr>
          <p:cNvCxnSpPr/>
          <p:nvPr/>
        </p:nvCxnSpPr>
        <p:spPr>
          <a:xfrm flipH="1">
            <a:off x="5095875" y="2302829"/>
            <a:ext cx="76200" cy="964249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103823D-1FC8-47AA-9251-4E771DDC0BC0}"/>
              </a:ext>
            </a:extLst>
          </p:cNvPr>
          <p:cNvCxnSpPr>
            <a:cxnSpLocks/>
          </p:cNvCxnSpPr>
          <p:nvPr/>
        </p:nvCxnSpPr>
        <p:spPr>
          <a:xfrm>
            <a:off x="5167313" y="2309815"/>
            <a:ext cx="2105025" cy="10001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EB06AC8-4538-4533-BCA0-FE828523AF60}"/>
              </a:ext>
            </a:extLst>
          </p:cNvPr>
          <p:cNvCxnSpPr>
            <a:cxnSpLocks/>
          </p:cNvCxnSpPr>
          <p:nvPr/>
        </p:nvCxnSpPr>
        <p:spPr>
          <a:xfrm>
            <a:off x="5100638" y="3295652"/>
            <a:ext cx="2105025" cy="10001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F0144D67-77E7-4757-8768-E14E837A4059}"/>
              </a:ext>
            </a:extLst>
          </p:cNvPr>
          <p:cNvGrpSpPr/>
          <p:nvPr/>
        </p:nvGrpSpPr>
        <p:grpSpPr>
          <a:xfrm rot="5244442">
            <a:off x="4876352" y="795177"/>
            <a:ext cx="388301" cy="4045269"/>
            <a:chOff x="4570730" y="558166"/>
            <a:chExt cx="500380" cy="449325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59D4719-1BBC-4CFE-98BA-93D240492C04}"/>
                </a:ext>
              </a:extLst>
            </p:cNvPr>
            <p:cNvGrpSpPr/>
            <p:nvPr/>
          </p:nvGrpSpPr>
          <p:grpSpPr>
            <a:xfrm>
              <a:off x="4570730" y="2790827"/>
              <a:ext cx="317500" cy="2260598"/>
              <a:chOff x="7016750" y="1724027"/>
              <a:chExt cx="317500" cy="2260598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A56747E4-50A3-41AA-B66B-EB2C7DFD79D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16750" y="1724027"/>
                <a:ext cx="184150" cy="2238374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6CF4773-62E6-4EA4-9635-DB826363F4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23100" y="39624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F8C2E1A7-333A-40D5-BEDD-0A876EECC8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82367" y="3217334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F310E7EA-FCC4-4D8E-818E-175D503C82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1634" y="24722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57C37CA-B83B-4C9B-BC06-E2839B2099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0900" y="17272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9806DBA6-F5B4-4810-94C4-7FA2CF08A0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52732" y="3589866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928E668C-4C91-4CE8-94F9-FC1668215C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7548" y="34036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573D310-1AD2-40BF-9E13-AF6FD0788F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7916" y="3776132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3E01727D-BCBF-49EA-8683-189102E0CF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0508" y="3869265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5C43FE87-BB3E-4869-A909-2EE96D954F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45324" y="3682999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DB136168-75E9-47B9-827F-8F7DA62325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0140" y="3496733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D3A979E5-0413-40CB-9FA9-746624C500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4956" y="33104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014311C-3476-4BE6-8CAB-311AF8CB90AF}"/>
                </a:ext>
              </a:extLst>
            </p:cNvPr>
            <p:cNvGrpSpPr/>
            <p:nvPr/>
          </p:nvGrpSpPr>
          <p:grpSpPr>
            <a:xfrm>
              <a:off x="4753610" y="558166"/>
              <a:ext cx="317500" cy="2260599"/>
              <a:chOff x="7016750" y="1724026"/>
              <a:chExt cx="317500" cy="2260599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04EAB016-BABE-4FA8-9847-B4D7A65F7D8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16750" y="1724026"/>
                <a:ext cx="184150" cy="2238374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D3496BE2-723C-402C-99C9-F481C0DC2B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23100" y="39624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D696D7A7-5C3F-467C-B8EE-26B4DF3518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82367" y="3217334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E20DAF4C-E0E1-44A4-B8A6-832F027E42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1634" y="24722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BAB00C49-9F46-4D6F-8360-ED8832A220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0900" y="17272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F84588E9-D09A-4B07-BB43-54D1BB1DDC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52732" y="3589866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C1DBF044-8FFC-482A-ACA6-3D0A99BA6F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7548" y="34036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2469CB6-E246-4D21-BCE7-86A6DA9C8A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7916" y="3776132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7757EC20-C7CA-4A51-8505-35E45462E7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0508" y="3869265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76ADFF5C-BA89-4C7E-9FBE-0D2E416532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45324" y="3682999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0768E6C-1BC2-4461-AF32-A4CB878795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0140" y="3496733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D46EF38-F021-4577-BA75-14019C3296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4956" y="33104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F383419-045E-4463-943E-F87F20B5D6CA}"/>
              </a:ext>
            </a:extLst>
          </p:cNvPr>
          <p:cNvCxnSpPr>
            <a:cxnSpLocks/>
          </p:cNvCxnSpPr>
          <p:nvPr/>
        </p:nvCxnSpPr>
        <p:spPr>
          <a:xfrm flipV="1">
            <a:off x="4646815" y="2355217"/>
            <a:ext cx="1382510" cy="213416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551D069-A030-47F2-ACAF-A31FFECC8355}"/>
              </a:ext>
            </a:extLst>
          </p:cNvPr>
          <p:cNvCxnSpPr>
            <a:cxnSpLocks/>
          </p:cNvCxnSpPr>
          <p:nvPr/>
        </p:nvCxnSpPr>
        <p:spPr>
          <a:xfrm>
            <a:off x="2685011" y="2668385"/>
            <a:ext cx="3268114" cy="642046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604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No photo description available.">
            <a:extLst>
              <a:ext uri="{FF2B5EF4-FFF2-40B4-BE49-F238E27FC236}">
                <a16:creationId xmlns:a16="http://schemas.microsoft.com/office/drawing/2014/main" id="{F9D55702-35EC-4422-A17F-6F0D238B8F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67001" y="-1063625"/>
            <a:ext cx="6858000" cy="91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48" name="Group 2047">
            <a:extLst>
              <a:ext uri="{FF2B5EF4-FFF2-40B4-BE49-F238E27FC236}">
                <a16:creationId xmlns:a16="http://schemas.microsoft.com/office/drawing/2014/main" id="{0C131FC1-B1FE-4FF5-8022-9E8EAA4BA3E5}"/>
              </a:ext>
            </a:extLst>
          </p:cNvPr>
          <p:cNvGrpSpPr/>
          <p:nvPr/>
        </p:nvGrpSpPr>
        <p:grpSpPr>
          <a:xfrm rot="5400000">
            <a:off x="7500983" y="461443"/>
            <a:ext cx="500380" cy="4052258"/>
            <a:chOff x="4570730" y="558166"/>
            <a:chExt cx="500380" cy="449325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890D1A-3B73-4BB0-ABF1-C0E6BEED64E7}"/>
                </a:ext>
              </a:extLst>
            </p:cNvPr>
            <p:cNvGrpSpPr/>
            <p:nvPr/>
          </p:nvGrpSpPr>
          <p:grpSpPr>
            <a:xfrm>
              <a:off x="4570730" y="2790827"/>
              <a:ext cx="317500" cy="2260598"/>
              <a:chOff x="7016750" y="1724027"/>
              <a:chExt cx="317500" cy="2260598"/>
            </a:xfrm>
          </p:grpSpPr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4273819F-F14E-44A3-9F36-F90E320591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16750" y="1724027"/>
                <a:ext cx="184150" cy="2238374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06D0DDE1-B3BB-42AF-B0CF-AFBA906146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23100" y="39624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98F64A80-297A-4162-8F0F-2B0D309D17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82367" y="3217334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AA92B3B7-BFAB-45F9-ACF6-412CE1CEE0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1634" y="24722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7A00973-2BFC-4632-9105-4C5B8EA252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0900" y="17272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7C0B0E2-5202-4AFB-A6FA-800AA1CA95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52732" y="3589866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B90481D-61FD-4060-8B91-9FE93176A2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7548" y="34036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53A54223-43FC-4F51-AC04-180DF18B7F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7916" y="3776132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C16AC50-AD60-4C87-B1B1-E71311B498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0508" y="3869265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8891EF40-EC70-444C-B408-113F80262D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45324" y="3682999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62F0FEE4-967F-4F36-8FD3-91E599D51D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0140" y="3496733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74C4A44-6E3C-4CFB-B8F9-1E69B5F36F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4956" y="33104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6D71D09-1D8B-43A2-A92D-6A22EEC66C73}"/>
                </a:ext>
              </a:extLst>
            </p:cNvPr>
            <p:cNvGrpSpPr/>
            <p:nvPr/>
          </p:nvGrpSpPr>
          <p:grpSpPr>
            <a:xfrm>
              <a:off x="4753610" y="558166"/>
              <a:ext cx="317500" cy="2260599"/>
              <a:chOff x="7016750" y="1724026"/>
              <a:chExt cx="317500" cy="2260599"/>
            </a:xfrm>
          </p:grpSpPr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568B5F3-3208-455B-A992-64695903E5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16750" y="1724026"/>
                <a:ext cx="184150" cy="2238374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D74D6AC-BC30-4EA1-ADE2-EC46D13903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23100" y="39624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BC58452-F447-495C-BCB3-2662B16F6E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82367" y="3217334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EEB79BC-8DC2-489E-8398-CBFF8865E7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1634" y="24722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97AC883D-D463-4FAA-8502-B3396D56E8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00900" y="17272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8FADA57-AF38-4BD5-8855-E37F039416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52732" y="3589866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A6148D9-BCB1-4AD8-8E95-54B10CF952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7548" y="3403600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228F888-5645-409E-B28C-A6CB86F10B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7916" y="3776132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998EDB0-57DA-4624-885B-727F9A22A4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0508" y="3869265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1F68C8B-4CF9-434D-BC09-E5A6DDDA9D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45324" y="3682999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14E001A-BB38-4CE1-B6BD-1C830BA870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0140" y="3496733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521878F6-4ABD-4A25-B37A-1EC080B566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4956" y="3310467"/>
                <a:ext cx="133350" cy="2222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95977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ooTRtzqahz7oadHi7a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</TotalTime>
  <Words>0</Words>
  <Application>Microsoft Office PowerPoint</Application>
  <PresentationFormat>Widescreen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elig, Eric W</dc:creator>
  <cp:lastModifiedBy>Eric Seelig</cp:lastModifiedBy>
  <cp:revision>7</cp:revision>
  <dcterms:created xsi:type="dcterms:W3CDTF">2020-08-12T19:24:47Z</dcterms:created>
  <dcterms:modified xsi:type="dcterms:W3CDTF">2020-08-14T06:58:48Z</dcterms:modified>
</cp:coreProperties>
</file>